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4"/>
  </p:notesMasterIdLst>
  <p:sldIdLst>
    <p:sldId id="380" r:id="rId2"/>
    <p:sldId id="419" r:id="rId3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2F2F2"/>
    <a:srgbClr val="E41E2A"/>
    <a:srgbClr val="686868"/>
    <a:srgbClr val="7F7F7F"/>
    <a:srgbClr val="F5EFEF"/>
    <a:srgbClr val="BBB9C0"/>
    <a:srgbClr val="D3CBC8"/>
    <a:srgbClr val="A7A7A7"/>
    <a:srgbClr val="0086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7" d="100"/>
          <a:sy n="67" d="100"/>
        </p:scale>
        <p:origin x="168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520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7615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C5235FCD-B343-48EC-99A9-106CC38208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F11341E-00B0-4C15-A144-26B97EAA8C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867CAEF-81E6-44F1-94BF-FA1BE1D859BD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FEBB89B-D766-490E-B3F9-EA68007F7C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20" name="TPandFilters">
            <a:extLst>
              <a:ext uri="{FF2B5EF4-FFF2-40B4-BE49-F238E27FC236}">
                <a16:creationId xmlns:a16="http://schemas.microsoft.com/office/drawing/2014/main" id="{7D08C2D7-308C-4CBB-8A69-0A374FC822CC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 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F068EDBF-8308-480A-9F36-6E104BB97D20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EB24F6FC-5F25-451C-9DA5-A01D9167B335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0F800784-4A94-48DB-BFCC-72E766EAD4C5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927182C-9BF7-422E-89E9-44C37716AAE5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69CE0D1-5912-4810-B8DC-CD9A5DE296EF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F354C6F4-9252-4965-BF33-A7663F39DC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7" name="Picture 2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3BA9F502-53A0-4310-A86B-6CA4E5CD93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BE2314-CFBF-4986-A7F8-7F4422BAB1AE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363200" y="6583205"/>
            <a:ext cx="35266" cy="123111"/>
          </a:xfrm>
          <a:prstGeom prst="rect">
            <a:avLst/>
          </a:prstGeom>
        </p:spPr>
        <p:txBody>
          <a:bodyPr/>
          <a:lstStyle/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 bwMode="gray">
          <a:xfrm>
            <a:off x="10363200" y="6583205"/>
            <a:ext cx="3526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47646" y="747708"/>
            <a:ext cx="11462221" cy="5246410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846743"/>
              </p:ext>
            </p:extLst>
          </p:nvPr>
        </p:nvGraphicFramePr>
        <p:xfrm>
          <a:off x="455478" y="768558"/>
          <a:ext cx="11245986" cy="5225565"/>
        </p:xfrm>
        <a:graphic>
          <a:graphicData uri="http://schemas.openxmlformats.org/drawingml/2006/table">
            <a:tbl>
              <a:tblPr/>
              <a:tblGrid>
                <a:gridCol w="3935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18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35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35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335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33543">
                  <a:extLst>
                    <a:ext uri="{9D8B030D-6E8A-4147-A177-3AD203B41FA5}">
                      <a16:colId xmlns:a16="http://schemas.microsoft.com/office/drawing/2014/main" val="1642006633"/>
                    </a:ext>
                  </a:extLst>
                </a:gridCol>
              </a:tblGrid>
              <a:tr h="214184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 – Supermarket/Grocer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1506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ffluen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5380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3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538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53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538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538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2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155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5380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2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1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538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 Skew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ock Up (1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43012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Fuel For Car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se Pharmacy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Advantage of Good Coupon Polic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igh-quality Product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5104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3861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3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ame format as middle class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Female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: 65-75, 25-34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: 2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leasure Shopp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ame format as 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7794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5380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OTHER*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53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53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347647" y="17996"/>
            <a:ext cx="11825313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804851" y="158650"/>
            <a:ext cx="806196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 – Supermarket/Grocery Shoppers</a:t>
            </a:r>
          </a:p>
        </p:txBody>
      </p:sp>
      <p:sp>
        <p:nvSpPr>
          <p:cNvPr id="14" name="TextBox 53"/>
          <p:cNvSpPr txBox="1"/>
          <p:nvPr/>
        </p:nvSpPr>
        <p:spPr>
          <a:xfrm>
            <a:off x="6900863" y="5994117"/>
            <a:ext cx="5272098" cy="315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1] Stat Test vs Share of Shopper of Monthly+ Urban-Supermarket/Grocery, [2] Stat Test vs Total Trips of Urban-Supermarket/Grocery,</a:t>
            </a:r>
          </a:p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3] Stat Test vs Total Shopper of Monthly+ Urban-Supermarket/Grocery</a:t>
            </a:r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5561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347655" y="747706"/>
            <a:ext cx="11375496" cy="5161830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57" name="Table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9894753"/>
              </p:ext>
            </p:extLst>
          </p:nvPr>
        </p:nvGraphicFramePr>
        <p:xfrm>
          <a:off x="455484" y="1264494"/>
          <a:ext cx="11122590" cy="4377778"/>
        </p:xfrm>
        <a:graphic>
          <a:graphicData uri="http://schemas.openxmlformats.org/drawingml/2006/table">
            <a:tbl>
              <a:tblPr/>
              <a:tblGrid>
                <a:gridCol w="716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5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10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02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102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10290">
                  <a:extLst>
                    <a:ext uri="{9D8B030D-6E8A-4147-A177-3AD203B41FA5}">
                      <a16:colId xmlns:a16="http://schemas.microsoft.com/office/drawing/2014/main" val="2558461401"/>
                    </a:ext>
                  </a:extLst>
                </a:gridCol>
              </a:tblGrid>
              <a:tr h="217630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 – Supermarket/Grocer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547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ffluen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9636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P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EVERAGE CATEGORIE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SD Regular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3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9636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SD Die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96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D Coffee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6017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9478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P NON-BEVERAGE CATEGORIE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esh Me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3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9478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afood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7635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gg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9485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95576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C MAIN REASON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tal Share of Trip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7229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9715">
                <a:tc row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VERAGE BASKET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IZ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: of Item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.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.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.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19715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ollar Spent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$5.6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$6.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$5.8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>
            <a:off x="455482" y="795515"/>
            <a:ext cx="11245979" cy="374959"/>
          </a:xfrm>
          <a:prstGeom prst="rect">
            <a:avLst/>
          </a:prstGeom>
          <a:solidFill>
            <a:srgbClr val="CC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Potential facts to include in “OTHER” section on the SOAP slide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47656" y="17999"/>
            <a:ext cx="11844344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804859" y="158653"/>
            <a:ext cx="806196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 – Supermarket/Grocery Shoppers</a:t>
            </a:r>
          </a:p>
        </p:txBody>
      </p:sp>
      <p:sp>
        <p:nvSpPr>
          <p:cNvPr id="15" name="TextBox 16"/>
          <p:cNvSpPr txBox="1"/>
          <p:nvPr/>
        </p:nvSpPr>
        <p:spPr>
          <a:xfrm>
            <a:off x="7458085" y="6050190"/>
            <a:ext cx="46843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ea typeface="ＭＳ Ｐゴシック" charset="0"/>
                <a:cs typeface="ＭＳ Ｐゴシック" charset="0"/>
              </a:rPr>
              <a:t>Stat Test vs Total Trips of Urban-Supermarket/Grocery</a:t>
            </a:r>
          </a:p>
        </p:txBody>
      </p:sp>
    </p:spTree>
    <p:extLst>
      <p:ext uri="{BB962C8B-B14F-4D97-AF65-F5344CB8AC3E}">
        <p14:creationId xmlns:p14="http://schemas.microsoft.com/office/powerpoint/2010/main" val="338664420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59</TotalTime>
  <Words>390</Words>
  <Application>Microsoft Office PowerPoint</Application>
  <PresentationFormat>Widescreen</PresentationFormat>
  <Paragraphs>111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ＭＳ Ｐゴシック</vt:lpstr>
      <vt:lpstr>Arial</vt:lpstr>
      <vt:lpstr>Calibri</vt:lpstr>
      <vt:lpstr>Candara</vt:lpstr>
      <vt:lpstr>Century Gothic</vt:lpstr>
      <vt:lpstr>Courier New</vt:lpstr>
      <vt:lpstr>Franklin Gothic Book</vt:lpstr>
      <vt:lpstr>Lucida Grande</vt:lpstr>
      <vt:lpstr>Segoe UI</vt:lpstr>
      <vt:lpstr>Wingdings</vt:lpstr>
      <vt:lpstr>12_USE THIS</vt:lpstr>
      <vt:lpstr>think-cell Slide</vt:lpstr>
      <vt:lpstr>PowerPoint Presentation</vt:lpstr>
      <vt:lpstr>PowerPoint Presentation</vt:lpstr>
    </vt:vector>
  </TitlesOfParts>
  <Company>Coca-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Nagaraju Duddela</cp:lastModifiedBy>
  <cp:revision>429</cp:revision>
  <cp:lastPrinted>2015-12-04T15:56:47Z</cp:lastPrinted>
  <dcterms:created xsi:type="dcterms:W3CDTF">2014-05-21T13:43:49Z</dcterms:created>
  <dcterms:modified xsi:type="dcterms:W3CDTF">2018-10-22T09:4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